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842" r:id="rId2"/>
    <p:sldId id="953" r:id="rId3"/>
    <p:sldId id="765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FFFFFF"/>
    <a:srgbClr val="576CD4"/>
    <a:srgbClr val="303237"/>
    <a:srgbClr val="4FD1CE"/>
    <a:srgbClr val="D2F3F2"/>
    <a:srgbClr val="000000"/>
    <a:srgbClr val="E4E7F8"/>
    <a:srgbClr val="D9D9D9"/>
    <a:srgbClr val="E77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94" d="100"/>
          <a:sy n="94" d="100"/>
        </p:scale>
        <p:origin x="432" y="312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Test3\master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Test3\master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Test3\mast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Test3\mast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Test3\master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Test3\mast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spPr>
            <a:solidFill>
              <a:schemeClr val="bg1"/>
            </a:solidFill>
          </c:spPr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E3D-49DC-AC5D-DF5845DD9306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DE3D-49DC-AC5D-DF5845DD930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4-DE3D-49DC-AC5D-DF5845DD9306}"/>
              </c:ext>
            </c:extLst>
          </c:dPt>
          <c:val>
            <c:numRef>
              <c:f>Analyse!$AA$4:$AB$4</c:f>
              <c:numCache>
                <c:formatCode>0.0%</c:formatCode>
                <c:ptCount val="2"/>
                <c:pt idx="0">
                  <c:v>3.5752351901609011E-2</c:v>
                </c:pt>
                <c:pt idx="1">
                  <c:v>0.96424764809839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E3D-49DC-AC5D-DF5845DD93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E981-41E6-8DB9-6F3A7B5CDB58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3-E981-41E6-8DB9-6F3A7B5CDB58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5-E981-41E6-8DB9-6F3A7B5CDB58}"/>
              </c:ext>
            </c:extLst>
          </c:dPt>
          <c:val>
            <c:numRef>
              <c:f>Analyse!$AA$5:$AB$5</c:f>
              <c:numCache>
                <c:formatCode>0.0%</c:formatCode>
                <c:ptCount val="2"/>
                <c:pt idx="0">
                  <c:v>2.5625713264771591E-2</c:v>
                </c:pt>
                <c:pt idx="1">
                  <c:v>0.97437428673522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981-41E6-8DB9-6F3A7B5CDB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49114069499811E-2"/>
          <c:y val="4.6843832020997365E-2"/>
          <c:w val="0.92969162498722302"/>
          <c:h val="0.9022302420530766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nalyse!$AH$3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90000"/>
                  <a:lumOff val="10000"/>
                </a:schemeClr>
              </a:solidFill>
              <a:ln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07F2-4893-AB51-1B68DD583B46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solidFill>
                  <a:schemeClr val="tx1">
                    <a:lumMod val="25000"/>
                    <a:lumOff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07F2-4893-AB51-1B68DD583B46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07F2-4893-AB51-1B68DD583B4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accent4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07F2-4893-AB51-1B68DD583B4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07F2-4893-AB51-1B68DD583B4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1">
                          <a:lumMod val="90000"/>
                          <a:lumOff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07F2-4893-AB51-1B68DD583B4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07F2-4893-AB51-1B68DD583B4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H$4:$AH$10</c:f>
              <c:numCache>
                <c:formatCode>General</c:formatCode>
                <c:ptCount val="7"/>
                <c:pt idx="0" formatCode="0%">
                  <c:v>1</c:v>
                </c:pt>
                <c:pt idx="2" formatCode="0%">
                  <c:v>0.40194117179649302</c:v>
                </c:pt>
                <c:pt idx="4" formatCode="0%">
                  <c:v>3.5752351901609011E-2</c:v>
                </c:pt>
                <c:pt idx="6" formatCode="0%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F2-4893-AB51-1B68DD583B46}"/>
            </c:ext>
          </c:extLst>
        </c:ser>
        <c:ser>
          <c:idx val="1"/>
          <c:order val="1"/>
          <c:tx>
            <c:strRef>
              <c:f>Analyse!$AI$3</c:f>
              <c:strCache>
                <c:ptCount val="1"/>
                <c:pt idx="0">
                  <c:v>Blank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I$4:$AI$10</c:f>
              <c:numCache>
                <c:formatCode>0%</c:formatCode>
                <c:ptCount val="7"/>
                <c:pt idx="1">
                  <c:v>0.40194117179649302</c:v>
                </c:pt>
                <c:pt idx="3">
                  <c:v>3.5752351901609011E-2</c:v>
                </c:pt>
                <c:pt idx="5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F2-4893-AB51-1B68DD583B46}"/>
            </c:ext>
          </c:extLst>
        </c:ser>
        <c:ser>
          <c:idx val="2"/>
          <c:order val="2"/>
          <c:tx>
            <c:strRef>
              <c:f>Analyse!$AJ$3</c:f>
              <c:strCache>
                <c:ptCount val="1"/>
                <c:pt idx="0">
                  <c:v>Increas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J$4:$AJ$10</c:f>
              <c:numCache>
                <c:formatCode>General</c:formatCode>
                <c:ptCount val="7"/>
                <c:pt idx="1">
                  <c:v>0</c:v>
                </c:pt>
                <c:pt idx="3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F2-4893-AB51-1B68DD583B46}"/>
            </c:ext>
          </c:extLst>
        </c:ser>
        <c:ser>
          <c:idx val="3"/>
          <c:order val="3"/>
          <c:tx>
            <c:strRef>
              <c:f>Analyse!$AK$3</c:f>
              <c:strCache>
                <c:ptCount val="1"/>
                <c:pt idx="0">
                  <c:v>Decre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25000"/>
                  <a:lumOff val="75000"/>
                </a:schemeClr>
              </a:solidFill>
            </a:ln>
            <a:effectLst/>
          </c:spPr>
          <c:invertIfNegative val="0"/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7F2-4893-AB51-1B68DD583B46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7F2-4893-AB51-1B68DD583B46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K$4:$AK$10</c:f>
              <c:numCache>
                <c:formatCode>\-0%</c:formatCode>
                <c:ptCount val="7"/>
                <c:pt idx="1">
                  <c:v>0.59805882820350698</c:v>
                </c:pt>
                <c:pt idx="3">
                  <c:v>0.366188819894884</c:v>
                </c:pt>
                <c:pt idx="5">
                  <c:v>1.01266386368374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F2-4893-AB51-1B68DD583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034053472"/>
        <c:axId val="2034051072"/>
      </c:barChart>
      <c:catAx>
        <c:axId val="203405347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2034051072"/>
        <c:crosses val="autoZero"/>
        <c:auto val="1"/>
        <c:lblAlgn val="ctr"/>
        <c:lblOffset val="100"/>
        <c:noMultiLvlLbl val="0"/>
      </c:catAx>
      <c:valAx>
        <c:axId val="203405107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2034053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fr-FR"/>
    </a:p>
  </c:txPr>
  <c:externalData r:id="rId3">
    <c:autoUpdate val="1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6643804568866889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1">
                  <a:lumMod val="90000"/>
                  <a:lumOff val="1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</c:marker>
          <c:dLbls>
            <c:numFmt formatCode="#\ ##0&quot;M€&quot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C$7:$C$150</c:f>
              <c:numCache>
                <c:formatCode>#\ ##0.0\ \ "M€"</c:formatCode>
                <c:ptCount val="144"/>
                <c:pt idx="0">
                  <c:v>29505584</c:v>
                </c:pt>
                <c:pt idx="1">
                  <c:v>23967141</c:v>
                </c:pt>
                <c:pt idx="2">
                  <c:v>22403234</c:v>
                </c:pt>
                <c:pt idx="3">
                  <c:v>21751691</c:v>
                </c:pt>
                <c:pt idx="4">
                  <c:v>23102388</c:v>
                </c:pt>
                <c:pt idx="5">
                  <c:v>22721100</c:v>
                </c:pt>
                <c:pt idx="6">
                  <c:v>22367555</c:v>
                </c:pt>
                <c:pt idx="7">
                  <c:v>33007622</c:v>
                </c:pt>
                <c:pt idx="8">
                  <c:v>33917775</c:v>
                </c:pt>
                <c:pt idx="9">
                  <c:v>42788449</c:v>
                </c:pt>
                <c:pt idx="10">
                  <c:v>46815658</c:v>
                </c:pt>
                <c:pt idx="11">
                  <c:v>4313912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D76F76A-5F43-4C25-95D0-331BA2A4E57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70C1A19B-5FC7-423C-8216-F2A6AC172CA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7645F0C4-8C90-4351-9052-B93C9CCC1FC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B107A792-681E-4ACF-962E-8A31C90151D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AF25E48B-FEB0-4CBD-AECE-768F9662A6C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H$7:$H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#N/A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30AE-48C2-B1D8-B9340032688F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5017A24-DA83-441B-9370-A2BA3127557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729BFE7-C7B2-41D3-8BDD-E9793F16E8B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3B804CE-A900-4B95-B06A-CFC3A85D39C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4B84426-909B-42D7-92F4-0B411A1EC70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66CE43A4-2B98-4C2D-B686-9FA7C7E2374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3D4608C5-5C52-4260-9D91-CFA2DF8CB53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I$7:$I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1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71033476323324218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numFmt formatCode="#\ ##0&quot;M€&quot;;\-#\ ##0&quot;M€&quot;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N$7:$N$150</c:f>
              <c:numCache>
                <c:formatCode>#\ ##0.0\ \ "M€"</c:formatCode>
                <c:ptCount val="144"/>
                <c:pt idx="0">
                  <c:v>3044779</c:v>
                </c:pt>
                <c:pt idx="1">
                  <c:v>460626</c:v>
                </c:pt>
                <c:pt idx="2">
                  <c:v>700135</c:v>
                </c:pt>
                <c:pt idx="3">
                  <c:v>451547</c:v>
                </c:pt>
                <c:pt idx="4">
                  <c:v>554692</c:v>
                </c:pt>
                <c:pt idx="5">
                  <c:v>481093</c:v>
                </c:pt>
                <c:pt idx="6">
                  <c:v>588761</c:v>
                </c:pt>
                <c:pt idx="7">
                  <c:v>11030048</c:v>
                </c:pt>
                <c:pt idx="8">
                  <c:v>11047703</c:v>
                </c:pt>
                <c:pt idx="9">
                  <c:v>12676207</c:v>
                </c:pt>
                <c:pt idx="10">
                  <c:v>17092825</c:v>
                </c:pt>
                <c:pt idx="11">
                  <c:v>1704177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D48BA0E-1DBD-4F29-9931-6B395131269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5BB7CBF4-2DCC-41D8-94B2-62C94639EF2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A268E881-E596-4636-8157-98518AEDA52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C83E3AD8-B1EA-4906-A801-21A26C6682A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7FD6CB43-F5C0-4A37-AB45-B45FE77A454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5A7C23C7-B04C-4AA0-8A1D-64C776863B7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37C51D13-EA82-4567-98ED-79B60AF702C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S$7:$S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1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2CE8-43F5-8DA1-2006C6E9F7D8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A8E2A28-7258-49E4-B32B-F78FE21A8D0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E623369-3EBD-4EA1-B06D-28E461D9156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A27DA873-6E4C-4728-BF21-A6F6200A712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F8E17451-88BF-4049-938E-A0B8FB4D7E0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T$7:$T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#N/A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</c:plotArea>
    <c:plotVisOnly val="1"/>
    <c:dispBlanksAs val="gap"/>
    <c:showDLblsOverMax val="0"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Analyse!$W$6</c:f>
              <c:strCache>
                <c:ptCount val="1"/>
                <c:pt idx="0">
                  <c:v>Taux de marg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Analyse!$M$7:$M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W$7:$W$150</c:f>
              <c:numCache>
                <c:formatCode>0%</c:formatCode>
                <c:ptCount val="144"/>
                <c:pt idx="0">
                  <c:v>0.10319331418757886</c:v>
                </c:pt>
                <c:pt idx="1">
                  <c:v>1.9219063300040667E-2</c:v>
                </c:pt>
                <c:pt idx="2">
                  <c:v>3.1251514848258069E-2</c:v>
                </c:pt>
                <c:pt idx="3">
                  <c:v>2.0759167643563895E-2</c:v>
                </c:pt>
                <c:pt idx="4">
                  <c:v>2.4010158603517524E-2</c:v>
                </c:pt>
                <c:pt idx="5">
                  <c:v>2.1173842815708745E-2</c:v>
                </c:pt>
                <c:pt idx="6">
                  <c:v>2.6322099129743953E-2</c:v>
                </c:pt>
                <c:pt idx="7">
                  <c:v>0.33416669640727226</c:v>
                </c:pt>
                <c:pt idx="8">
                  <c:v>0.32572015705629276</c:v>
                </c:pt>
                <c:pt idx="9">
                  <c:v>0.29625301445256874</c:v>
                </c:pt>
                <c:pt idx="10">
                  <c:v>0.36510914788381271</c:v>
                </c:pt>
                <c:pt idx="11">
                  <c:v>0.39504207850664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14-4A83-BE21-177566B72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2121538784"/>
        <c:axId val="2121540224"/>
      </c:barChart>
      <c:dateAx>
        <c:axId val="2121538784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40224"/>
        <c:crosses val="autoZero"/>
        <c:auto val="1"/>
        <c:lblOffset val="100"/>
        <c:baseTimeUnit val="years"/>
      </c:dateAx>
      <c:valAx>
        <c:axId val="2121540224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10000"/>
                  <a:lumOff val="90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38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>
              <a:lumMod val="90000"/>
              <a:lumOff val="10000"/>
            </a:schemeClr>
          </a:solidFill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chart" Target="../charts/chart2.xml"/><Relationship Id="rId18" Type="http://schemas.openxmlformats.org/officeDocument/2006/relationships/chart" Target="../charts/chart5.xml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12" Type="http://schemas.openxmlformats.org/officeDocument/2006/relationships/chart" Target="../charts/chart1.xml"/><Relationship Id="rId17" Type="http://schemas.openxmlformats.org/officeDocument/2006/relationships/chart" Target="../charts/chart4.xml"/><Relationship Id="rId2" Type="http://schemas.openxmlformats.org/officeDocument/2006/relationships/tags" Target="../tags/tag2.xml"/><Relationship Id="rId16" Type="http://schemas.openxmlformats.org/officeDocument/2006/relationships/image" Target="../media/image9.svg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8.png"/><Relationship Id="rId10" Type="http://schemas.openxmlformats.org/officeDocument/2006/relationships/image" Target="../media/image6.png"/><Relationship Id="rId19" Type="http://schemas.openxmlformats.org/officeDocument/2006/relationships/chart" Target="../charts/chart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svg"/><Relationship Id="rId1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information au service de l’action !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es concurrents</a:t>
            </a: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4" progId="TCLayout.ActiveDocument.1">
                  <p:embed/>
                </p:oleObj>
              </mc:Choice>
              <mc:Fallback>
                <p:oleObj name="think-cell Slide" r:id="rId6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  <a:endParaRPr lang="fr-FR" sz="1400" b="1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dentifié : [</a:t>
            </a:r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 dirty="0">
                <a:solidFill>
                  <a:schemeClr val="bg1"/>
                </a:solidFill>
                <a:latin typeface="Aptos Black" panose="020B0004020202020204" pitchFamily="34" charset="0"/>
              </a:rPr>
              <a:t>[Entreprise]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[Date] | A001 [Incohérence]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  <a:endParaRPr lang="fr-FR" sz="1400" b="1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dentifié : [</a:t>
            </a:r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[Start]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[</a:t>
                </a:r>
                <a:r>
                  <a:rPr lang="fr-FR" sz="1200" b="1" dirty="0" err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_CA</a:t>
                </a:r>
                <a:r>
                  <a:rPr lang="fr-FR" sz="1200" b="1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]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[Start]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[</a:t>
                  </a:r>
                  <a:r>
                    <a:rPr lang="fr-FR" sz="1200" b="1" noProof="0" dirty="0" err="1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</a:t>
                  </a:r>
                  <a:r>
                    <a:rPr lang="fr-FR" sz="12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r</a:t>
                  </a:r>
                  <a:r>
                    <a:rPr lang="fr-FR" sz="1200" b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_EBE</a:t>
                  </a:r>
                  <a:r>
                    <a:rPr lang="fr-FR" sz="12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]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BE]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</a:t>
            </a:r>
            <a:r>
              <a:rPr lang="fr-FR" sz="12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nd]</a:t>
            </a:r>
          </a:p>
          <a:p>
            <a:pPr algn="ctr"/>
            <a:r>
              <a:rPr lang="fr-FR" sz="9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EC69C6BA-014D-6AC1-9308-90DDB0C73D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3816215"/>
              </p:ext>
            </p:extLst>
          </p:nvPr>
        </p:nvGraphicFramePr>
        <p:xfrm>
          <a:off x="5584058" y="521970"/>
          <a:ext cx="1044000" cy="1051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[End]</a:t>
            </a:r>
          </a:p>
          <a:p>
            <a:pPr algn="ctr"/>
            <a:r>
              <a:rPr lang="fr-FR" sz="900" i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</a:p>
        </p:txBody>
      </p:sp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6427DC35-21A6-C69D-EDF8-98CD0D3A04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5153400"/>
              </p:ext>
            </p:extLst>
          </p:nvPr>
        </p:nvGraphicFramePr>
        <p:xfrm>
          <a:off x="7383683" y="521970"/>
          <a:ext cx="1044000" cy="1060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1800" b="1" dirty="0" err="1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_p</a:t>
            </a: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2A220FCE-B200-D671-8797-E77ABBCBBD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3571609"/>
              </p:ext>
            </p:extLst>
          </p:nvPr>
        </p:nvGraphicFramePr>
        <p:xfrm>
          <a:off x="10462051" y="334878"/>
          <a:ext cx="1378066" cy="3086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ptos" panose="020B0004020202020204" pitchFamily="34" charset="0"/>
                </a:rPr>
                <a:t>[Famille]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ptos" panose="020B0004020202020204" pitchFamily="34" charset="0"/>
                </a:rPr>
                <a:t>[Segment]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[End]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CA]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[End]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RN]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0E966595-C73A-E42F-5214-EDAFF36FEB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6470293"/>
              </p:ext>
            </p:extLst>
          </p:nvPr>
        </p:nvGraphicFramePr>
        <p:xfrm>
          <a:off x="398073" y="3416481"/>
          <a:ext cx="4297708" cy="3039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186CF501-686A-436A-B70E-871FC91A8D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5317412"/>
              </p:ext>
            </p:extLst>
          </p:nvPr>
        </p:nvGraphicFramePr>
        <p:xfrm>
          <a:off x="4692900" y="3416078"/>
          <a:ext cx="4297708" cy="3040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1D546CF5-0D6F-4D39-EA6C-54839C9647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6953613"/>
              </p:ext>
            </p:extLst>
          </p:nvPr>
        </p:nvGraphicFramePr>
        <p:xfrm>
          <a:off x="9112619" y="3942958"/>
          <a:ext cx="2841611" cy="241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val="36253303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55</TotalTime>
  <Words>222</Words>
  <Application>Microsoft Office PowerPoint</Application>
  <PresentationFormat>Widescreen</PresentationFormat>
  <Paragraphs>46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ptos</vt:lpstr>
      <vt:lpstr>Aptos Black</vt:lpstr>
      <vt:lpstr>Aptos Display</vt:lpstr>
      <vt:lpstr>Arial</vt:lpstr>
      <vt:lpstr>Lato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099</cp:revision>
  <dcterms:created xsi:type="dcterms:W3CDTF">2025-05-09T11:21:43Z</dcterms:created>
  <dcterms:modified xsi:type="dcterms:W3CDTF">2025-10-03T12:21:54Z</dcterms:modified>
</cp:coreProperties>
</file>